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1652" r:id="rId2"/>
    <p:sldId id="259" r:id="rId3"/>
    <p:sldId id="558" r:id="rId4"/>
    <p:sldId id="1656" r:id="rId5"/>
    <p:sldId id="1641" r:id="rId6"/>
    <p:sldId id="391" r:id="rId7"/>
    <p:sldId id="258" r:id="rId8"/>
    <p:sldId id="1655" r:id="rId9"/>
    <p:sldId id="1653" r:id="rId1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30" autoAdjust="0"/>
    <p:restoredTop sz="85007" autoAdjust="0"/>
  </p:normalViewPr>
  <p:slideViewPr>
    <p:cSldViewPr snapToGrid="0">
      <p:cViewPr varScale="1">
        <p:scale>
          <a:sx n="62" d="100"/>
          <a:sy n="62" d="100"/>
        </p:scale>
        <p:origin x="77" y="1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23D3DFE-7E2B-4576-A8AD-4FDEF6A4F3A8}" type="datetimeFigureOut">
              <a:rPr lang="en-GB" smtClean="0"/>
              <a:t>09/08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FF823F8-1A84-4102-A492-CA37EAAE8E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4982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Futura Medium" pitchFamily="2" charset="0"/>
              </a:rPr>
              <a:pPr/>
              <a:t>1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684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>
            <a:extLst>
              <a:ext uri="{FF2B5EF4-FFF2-40B4-BE49-F238E27FC236}">
                <a16:creationId xmlns:a16="http://schemas.microsoft.com/office/drawing/2014/main" id="{FD719001-1546-4C31-8684-A01160783BA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>
            <a:extLst>
              <a:ext uri="{FF2B5EF4-FFF2-40B4-BE49-F238E27FC236}">
                <a16:creationId xmlns:a16="http://schemas.microsoft.com/office/drawing/2014/main" id="{73D923E2-35B7-4951-8144-32AEF3C2E04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/>
          </a:p>
        </p:txBody>
      </p:sp>
      <p:sp>
        <p:nvSpPr>
          <p:cNvPr id="29700" name="Slide Number Placeholder 3">
            <a:extLst>
              <a:ext uri="{FF2B5EF4-FFF2-40B4-BE49-F238E27FC236}">
                <a16:creationId xmlns:a16="http://schemas.microsoft.com/office/drawing/2014/main" id="{BE4299BF-97C5-4931-9334-ACFFF0A4FD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1pPr>
            <a:lvl2pPr marL="757066" indent="-291179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2pPr>
            <a:lvl3pPr marL="1164717" indent="-232943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3pPr>
            <a:lvl4pPr marL="1630604" indent="-232943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4pPr>
            <a:lvl5pPr marL="2096491" indent="-232943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5pPr>
            <a:lvl6pPr marL="2562377" indent="-232943" defTabSz="12407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6pPr>
            <a:lvl7pPr marL="3028264" indent="-232943" defTabSz="12407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7pPr>
            <a:lvl8pPr marL="3494151" indent="-232943" defTabSz="12407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8pPr>
            <a:lvl9pPr marL="3960038" indent="-232943" defTabSz="12407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9pPr>
          </a:lstStyle>
          <a:p>
            <a:pPr defTabSz="1242334">
              <a:defRPr/>
            </a:pPr>
            <a:fld id="{C97E2B89-0358-441D-AE23-AF1C75B2458B}" type="slidenum">
              <a:rPr lang="en-GB" altLang="en-US" sz="1200">
                <a:solidFill>
                  <a:srgbClr val="595959"/>
                </a:solidFill>
              </a:rPr>
              <a:pPr defTabSz="1242334">
                <a:defRPr/>
              </a:pPr>
              <a:t>2</a:t>
            </a:fld>
            <a:endParaRPr lang="en-GB" altLang="en-US" sz="120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78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302375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4062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302375" cy="3544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004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2326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7035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341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1" y="960120"/>
            <a:ext cx="9899747" cy="1584040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89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89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7947164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4"/>
            <a:ext cx="5464175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3"/>
            <a:ext cx="5468939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660529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3pPr>
            <a:lvl4pPr marL="597600" indent="-187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3"/>
            <a:ext cx="5468939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600"/>
            </a:lvl1pPr>
            <a:lvl2pPr marL="216000" indent="-2160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6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3pPr>
            <a:lvl4pPr marL="597600" indent="-1872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600"/>
            </a:lvl4pPr>
            <a:lvl5pPr marL="766800" indent="-154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5pPr>
            <a:lvl6pPr marL="914400" indent="-1440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84395013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71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2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9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3"/>
            <a:ext cx="5468939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9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31"/>
            <a:ext cx="5468939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9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9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5"/>
            <a:ext cx="5468939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3"/>
            <a:ext cx="5468939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4"/>
            <a:ext cx="5468939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9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5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5" y="386461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5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5" y="4456231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5" y="5966659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5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5" y="1528765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5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5" y="2120384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9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04302549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1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1" y="2636982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1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3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68821255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4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6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</p:spTree>
    <p:extLst>
      <p:ext uri="{BB962C8B-B14F-4D97-AF65-F5344CB8AC3E}">
        <p14:creationId xmlns:p14="http://schemas.microsoft.com/office/powerpoint/2010/main" val="387879974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</p:spTree>
    <p:extLst>
      <p:ext uri="{BB962C8B-B14F-4D97-AF65-F5344CB8AC3E}">
        <p14:creationId xmlns:p14="http://schemas.microsoft.com/office/powerpoint/2010/main" val="102812926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4013380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3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11166563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340545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6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2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1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31141583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</p:spTree>
    <p:extLst>
      <p:ext uri="{BB962C8B-B14F-4D97-AF65-F5344CB8AC3E}">
        <p14:creationId xmlns:p14="http://schemas.microsoft.com/office/powerpoint/2010/main" val="78446697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2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1" y="960121"/>
            <a:ext cx="9899747" cy="1584041"/>
          </a:xfrm>
          <a:noFill/>
        </p:spPr>
        <p:txBody>
          <a:bodyPr lIns="0" tIns="0" rIns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1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1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1" y="4840065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9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883090879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9" y="1280160"/>
            <a:ext cx="4300223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87365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567C4-24AD-48FB-AB98-3E44B38C84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1E5D91-CA64-4365-95D7-6787F38D3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F29C31-C20D-4D57-8650-4AD49C185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98371-2737-4E06-9E08-E5ECB856F585}" type="datetime1">
              <a:rPr lang="en-US" smtClean="0"/>
              <a:t>8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2035B-9706-45C0-8D55-6B00F71DA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81FDE5-7527-4B89-AB4E-21DFB4127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3FB8D2-E990-4277-AF10-CCC31F7724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070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5" y="3556003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8"/>
            <a:ext cx="5179739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2"/>
            <a:ext cx="5179739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59394285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5" y="3556003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59938"/>
            <a:ext cx="5179739" cy="1047891"/>
          </a:xfrm>
          <a:noFill/>
        </p:spPr>
        <p:txBody>
          <a:bodyPr lIns="0" tIns="0" rIns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2"/>
            <a:ext cx="5179739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1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1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93555826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4"/>
            <a:ext cx="11171239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53600" y="64770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84843401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3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4"/>
            <a:ext cx="11171239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47901982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3"/>
            <a:ext cx="11171239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2000"/>
            </a:lvl1pPr>
            <a:lvl2pPr marL="277200" indent="-277200" defTabSz="357708">
              <a:lnSpc>
                <a:spcPct val="140000"/>
              </a:lnSpc>
              <a:spcBef>
                <a:spcPts val="0"/>
              </a:spcBef>
              <a:defRPr sz="2000"/>
            </a:lvl2pPr>
            <a:lvl3pPr marL="522000" indent="-2520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3pPr>
            <a:lvl4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2000"/>
            </a:lvl4pPr>
            <a:lvl5pPr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5pPr>
            <a:lvl6pPr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6712300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0"/>
            <a:ext cx="11171239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1" y="1528763"/>
            <a:ext cx="11171239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600"/>
            </a:lvl1pPr>
            <a:lvl2pPr marL="215900" indent="-215900" defTabSz="357708">
              <a:lnSpc>
                <a:spcPct val="140000"/>
              </a:lnSpc>
              <a:spcBef>
                <a:spcPts val="0"/>
              </a:spcBef>
              <a:defRPr sz="16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96900" indent="-185738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3" indent="-155575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400"/>
            </a:lvl5pPr>
            <a:lvl6pPr marL="914400" indent="-144463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4342805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5" y="1528764"/>
            <a:ext cx="5464175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3"/>
            <a:ext cx="5468939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2000"/>
            </a:lvl1pPr>
            <a:lvl2pPr marL="277200" indent="-2772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2000"/>
            </a:lvl2pPr>
            <a:lvl3pPr marL="522000" indent="-2520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3pPr>
            <a:lvl4pPr marL="756000" indent="-241294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2000"/>
            </a:lvl4pPr>
            <a:lvl5pPr marL="964800" indent="-21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5pPr>
            <a:lvl6pPr marL="1144800" indent="-1800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0967518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25" imgW="270" imgH="270" progId="">
                  <p:embed/>
                </p:oleObj>
              </mc:Choice>
              <mc:Fallback>
                <p:oleObj name="think-cell Slide" r:id="rId25" imgW="270" imgH="27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528763"/>
            <a:ext cx="11171239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1" y="712802"/>
            <a:ext cx="11171239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May 2018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8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</p:spTree>
    <p:extLst>
      <p:ext uri="{BB962C8B-B14F-4D97-AF65-F5344CB8AC3E}">
        <p14:creationId xmlns:p14="http://schemas.microsoft.com/office/powerpoint/2010/main" val="985228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2288" indent="-2508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650" indent="-2413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5200" indent="-21272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6175" indent="-180975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60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3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package" Target="../embeddings/Microsoft_Excel_Worksheet.xlsx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package" Target="../embeddings/Microsoft_Excel_Worksheet1.xlsx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1</a:t>
            </a:fld>
            <a:endParaRPr lang="en-GB" dirty="0"/>
          </a:p>
        </p:txBody>
      </p:sp>
      <p:pic>
        <p:nvPicPr>
          <p:cNvPr id="8" name="Picture 6" descr="Image result for Bonga FPSO Pic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6" r="10116"/>
          <a:stretch>
            <a:fillRect/>
          </a:stretch>
        </p:blipFill>
        <p:spPr bwMode="auto">
          <a:xfrm>
            <a:off x="8757501" y="3693789"/>
            <a:ext cx="2922242" cy="2454748"/>
          </a:xfrm>
          <a:prstGeom prst="roundRect">
            <a:avLst>
              <a:gd name="adj" fmla="val 8594"/>
            </a:avLst>
          </a:prstGeom>
          <a:solidFill>
            <a:srgbClr val="FF0000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3631" y="2322629"/>
            <a:ext cx="9138719" cy="1769079"/>
          </a:xfrm>
        </p:spPr>
        <p:txBody>
          <a:bodyPr/>
          <a:lstStyle/>
          <a:p>
            <a:pPr algn="ctr"/>
            <a:r>
              <a:rPr lang="en-GB" sz="4000" b="1" dirty="0">
                <a:solidFill>
                  <a:schemeClr val="bg2">
                    <a:lumMod val="10000"/>
                  </a:schemeClr>
                </a:solidFill>
                <a:latin typeface="Futura Bold" panose="00000900000000000000" pitchFamily="2" charset="0"/>
              </a:rPr>
              <a:t>Bonga DW Asset Quarterly Business Review (HSE)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10451347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Number Placeholder 4">
            <a:extLst>
              <a:ext uri="{FF2B5EF4-FFF2-40B4-BE49-F238E27FC236}">
                <a16:creationId xmlns:a16="http://schemas.microsoft.com/office/drawing/2014/main" id="{318A8B62-6954-4748-883B-D8C0174D3EF0}"/>
              </a:ext>
            </a:extLst>
          </p:cNvPr>
          <p:cNvSpPr>
            <a:spLocks noGrp="1" noChangeArrowheads="1"/>
          </p:cNvSpPr>
          <p:nvPr>
            <p:ph type="sldNum" sz="quarter" idx="1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edium" panose="00000400000000000000" pitchFamily="2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B38FE-CE79-45C2-9623-ECD38C6A3DA6}" type="slidenum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 panose="00000400000000000000" pitchFamily="2" charset="0"/>
                <a:ea typeface="MS PGothic" panose="020B0600070205080204" pitchFamily="34" charset="-128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altLang="en-US" sz="8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Futura Medium" panose="00000400000000000000" pitchFamily="2" charset="0"/>
              <a:ea typeface="MS PGothic" panose="020B0600070205080204" pitchFamily="34" charset="-128"/>
              <a:cs typeface="+mn-cs"/>
            </a:endParaRPr>
          </a:p>
        </p:txBody>
      </p:sp>
      <p:graphicFrame>
        <p:nvGraphicFramePr>
          <p:cNvPr id="74" name="Table 73">
            <a:extLst>
              <a:ext uri="{FF2B5EF4-FFF2-40B4-BE49-F238E27FC236}">
                <a16:creationId xmlns:a16="http://schemas.microsoft.com/office/drawing/2014/main" id="{E711FF01-5152-406B-AAB2-A04FD2CF0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460403"/>
              </p:ext>
            </p:extLst>
          </p:nvPr>
        </p:nvGraphicFramePr>
        <p:xfrm>
          <a:off x="304800" y="927214"/>
          <a:ext cx="11582400" cy="533486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959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935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31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11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70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3578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ess %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9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1C02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18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anned Comple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ment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047"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se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.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r.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1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2</a:t>
                      </a:r>
                    </a:p>
                  </a:txBody>
                  <a:tcPr marL="36000" marR="18000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3</a:t>
                      </a:r>
                    </a:p>
                  </a:txBody>
                  <a:tcPr marL="36000" marR="18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4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romise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LE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7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Roll out 2019 Bonga DW AAP &amp; SE AIPSM Implementation Plan. 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uary</a:t>
                      </a:r>
                    </a:p>
                  </a:txBody>
                  <a:tcPr marL="36000" marR="1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b</a:t>
                      </a: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leted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4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reness/Training session on auditing for LOD 1 auditors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ch</a:t>
                      </a: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r</a:t>
                      </a: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leted knowledge and skill training for Bonga personnel 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99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Bonga HSE Case Review (Part 3 and annex 3A)</a:t>
                      </a:r>
                      <a:endParaRPr lang="en-GB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ril</a:t>
                      </a: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</a:t>
                      </a: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88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Facilitate the 2019 Safety Day Events and </a:t>
                      </a:r>
                      <a:r>
                        <a:rPr lang="en-US" sz="1100" kern="1200" dirty="0" err="1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Oloma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Memorial for Bonga DW Asset team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/Nov</a:t>
                      </a: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</a:t>
                      </a: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leted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49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nvironmental Aspects Champions’ and Bonga HSE Team members workshop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&gt;9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</a:t>
                      </a: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3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eep Water Production Contractor CEO HSE Engagement Workshop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8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ly</a:t>
                      </a: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329860"/>
                  </a:ext>
                </a:extLst>
              </a:tr>
              <a:tr h="3578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Hold learning summits (use a blend of past activity related incidents and identified risks based on exposure prediction)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.</a:t>
                      </a:r>
                    </a:p>
                  </a:txBody>
                  <a:tcPr marL="36000" marR="1800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6512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9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itoring Implementation of all LOD 1 activities and NCR form when not completed</a:t>
                      </a:r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9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thly</a:t>
                      </a:r>
                    </a:p>
                  </a:txBody>
                  <a:tcPr marL="36000" marR="18000" marT="0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ights are shared monthly on completed LOD 1 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5358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9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fectiveness of Closed-out Radar and FIM items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7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uarterly</a:t>
                      </a:r>
                    </a:p>
                  </a:txBody>
                  <a:tcPr marL="36000" marR="18000" marT="0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1 and Q2 review completed.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9853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9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date of the Hazardous Area Classification Drawing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ember</a:t>
                      </a:r>
                    </a:p>
                  </a:txBody>
                  <a:tcPr marL="36000" marR="1800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00943"/>
                  </a:ext>
                </a:extLst>
              </a:tr>
              <a:tr h="288578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1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onga DW Asset HSSE &amp; SP MS Management Review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ember</a:t>
                      </a: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3542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2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fety Leadership coaching sessions and family head connects with LT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ember</a:t>
                      </a:r>
                    </a:p>
                  </a:txBody>
                  <a:tcPr marL="36000" marR="1800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ld monthly connect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930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3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view Bonga Asset HSE documents to align with current organizational structure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cember </a:t>
                      </a:r>
                    </a:p>
                  </a:txBody>
                  <a:tcPr marL="36000" marR="1800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going (Completed HSSE Case &amp;MIP)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75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a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.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r.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1</a:t>
                      </a: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2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3</a:t>
                      </a:r>
                    </a:p>
                  </a:txBody>
                  <a:tcPr marL="36000" marR="18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4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romise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LE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18000" marT="0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75" name="Title 1">
            <a:extLst>
              <a:ext uri="{FF2B5EF4-FFF2-40B4-BE49-F238E27FC236}">
                <a16:creationId xmlns:a16="http://schemas.microsoft.com/office/drawing/2014/main" id="{8501A7F2-B4BF-4457-81A8-1F41F2464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543" y="571765"/>
            <a:ext cx="11506200" cy="381000"/>
          </a:xfrm>
        </p:spPr>
        <p:txBody>
          <a:bodyPr/>
          <a:lstStyle/>
          <a:p>
            <a:pPr eaLnBrk="1" hangingPunct="1">
              <a:defRPr/>
            </a:pPr>
            <a:r>
              <a:rPr lang="en-GB" altLang="en-US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Safety &amp; Environment </a:t>
            </a:r>
            <a:r>
              <a:rPr lang="en-US" altLang="en-US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– 2019 Key Promises Schedule</a:t>
            </a:r>
            <a:br>
              <a:rPr lang="en-GB" altLang="en-US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</a:br>
            <a:endParaRPr lang="en-GB" altLang="en-US" sz="1800" b="1" dirty="0"/>
          </a:p>
        </p:txBody>
      </p:sp>
      <p:graphicFrame>
        <p:nvGraphicFramePr>
          <p:cNvPr id="76" name="Table 75">
            <a:extLst>
              <a:ext uri="{FF2B5EF4-FFF2-40B4-BE49-F238E27FC236}">
                <a16:creationId xmlns:a16="http://schemas.microsoft.com/office/drawing/2014/main" id="{6B861B85-427F-4013-A4A9-10A2AB7874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557994"/>
              </p:ext>
            </p:extLst>
          </p:nvPr>
        </p:nvGraphicFramePr>
        <p:xfrm>
          <a:off x="1056861" y="6404300"/>
          <a:ext cx="10303565" cy="26035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03035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0350">
                <a:tc>
                  <a:txBody>
                    <a:bodyPr/>
                    <a:lstStyle/>
                    <a:p>
                      <a:pPr algn="l" fontAlgn="ctr"/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02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49021C26-4F68-4CFA-B4FE-83D675DD845C}"/>
              </a:ext>
            </a:extLst>
          </p:cNvPr>
          <p:cNvGrpSpPr/>
          <p:nvPr/>
        </p:nvGrpSpPr>
        <p:grpSpPr>
          <a:xfrm>
            <a:off x="3578087" y="6390306"/>
            <a:ext cx="1714500" cy="228600"/>
            <a:chOff x="3654287" y="6024546"/>
            <a:chExt cx="1714500" cy="228600"/>
          </a:xfrm>
        </p:grpSpPr>
        <p:sp>
          <p:nvSpPr>
            <p:cNvPr id="78" name="TextBox 36">
              <a:extLst>
                <a:ext uri="{FF2B5EF4-FFF2-40B4-BE49-F238E27FC236}">
                  <a16:creationId xmlns:a16="http://schemas.microsoft.com/office/drawing/2014/main" id="{D0E307B5-3689-427B-A800-96961A529DB2}"/>
                </a:ext>
              </a:extLst>
            </p:cNvPr>
            <p:cNvSpPr txBox="1"/>
            <p:nvPr/>
          </p:nvSpPr>
          <p:spPr bwMode="auto">
            <a:xfrm>
              <a:off x="3730487" y="6024546"/>
              <a:ext cx="1638300" cy="15240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C02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Project Completion (Baseline) </a:t>
              </a:r>
            </a:p>
          </p:txBody>
        </p:sp>
        <p:sp>
          <p:nvSpPr>
            <p:cNvPr id="79" name="Diamond 78">
              <a:extLst>
                <a:ext uri="{FF2B5EF4-FFF2-40B4-BE49-F238E27FC236}">
                  <a16:creationId xmlns:a16="http://schemas.microsoft.com/office/drawing/2014/main" id="{1C5EE47C-14F7-4CD5-B88D-E8214DA4841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3654287" y="6102334"/>
              <a:ext cx="127000" cy="150812"/>
            </a:xfrm>
            <a:prstGeom prst="diamond">
              <a:avLst/>
            </a:prstGeom>
            <a:solidFill>
              <a:srgbClr val="008443"/>
            </a:solidFill>
            <a:ln w="9525">
              <a:solidFill>
                <a:srgbClr val="008441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34998"/>
                </a:srgbClr>
              </a:outerShdw>
            </a:effectLst>
          </p:spPr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80784FC-E538-4286-838E-CA1FF7A3CD44}"/>
              </a:ext>
            </a:extLst>
          </p:cNvPr>
          <p:cNvGrpSpPr/>
          <p:nvPr/>
        </p:nvGrpSpPr>
        <p:grpSpPr>
          <a:xfrm>
            <a:off x="8378687" y="6390306"/>
            <a:ext cx="2112963" cy="246063"/>
            <a:chOff x="8454887" y="6024546"/>
            <a:chExt cx="2112963" cy="246063"/>
          </a:xfrm>
        </p:grpSpPr>
        <p:sp>
          <p:nvSpPr>
            <p:cNvPr id="81" name="TextBox 36">
              <a:extLst>
                <a:ext uri="{FF2B5EF4-FFF2-40B4-BE49-F238E27FC236}">
                  <a16:creationId xmlns:a16="http://schemas.microsoft.com/office/drawing/2014/main" id="{27A4A1A1-63F7-44C4-AF6A-B7F347DEC0F6}"/>
                </a:ext>
              </a:extLst>
            </p:cNvPr>
            <p:cNvSpPr txBox="1"/>
            <p:nvPr/>
          </p:nvSpPr>
          <p:spPr bwMode="auto">
            <a:xfrm>
              <a:off x="8835887" y="6024546"/>
              <a:ext cx="1731963" cy="246063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C02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LE Schedule Slippage </a:t>
              </a:r>
            </a:p>
          </p:txBody>
        </p:sp>
        <p:sp>
          <p:nvSpPr>
            <p:cNvPr id="82" name="Right Arrow 81">
              <a:extLst>
                <a:ext uri="{FF2B5EF4-FFF2-40B4-BE49-F238E27FC236}">
                  <a16:creationId xmlns:a16="http://schemas.microsoft.com/office/drawing/2014/main" id="{56BC3133-794F-4D25-8705-16164FE983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4887" y="6118209"/>
              <a:ext cx="398463" cy="76200"/>
            </a:xfrm>
            <a:prstGeom prst="rightArrow">
              <a:avLst>
                <a:gd name="adj1" fmla="val 50000"/>
                <a:gd name="adj2" fmla="val 50002"/>
              </a:avLst>
            </a:prstGeom>
            <a:gradFill rotWithShape="1">
              <a:gsLst>
                <a:gs pos="0">
                  <a:srgbClr val="F80000"/>
                </a:gs>
                <a:gs pos="20000">
                  <a:srgbClr val="F20005"/>
                </a:gs>
                <a:gs pos="100000">
                  <a:srgbClr val="B90001"/>
                </a:gs>
              </a:gsLst>
              <a:lin ang="5400000"/>
            </a:gradFill>
            <a:ln w="9525">
              <a:solidFill>
                <a:srgbClr val="DD171C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34998"/>
                </a:srgbClr>
              </a:outerShdw>
            </a:effec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A773A6E-F4E7-4E26-B9FD-EAB6456F3D3E}"/>
              </a:ext>
            </a:extLst>
          </p:cNvPr>
          <p:cNvGrpSpPr/>
          <p:nvPr/>
        </p:nvGrpSpPr>
        <p:grpSpPr>
          <a:xfrm>
            <a:off x="5711687" y="6390306"/>
            <a:ext cx="1905000" cy="246063"/>
            <a:chOff x="5787887" y="6024546"/>
            <a:chExt cx="1905000" cy="246063"/>
          </a:xfrm>
        </p:grpSpPr>
        <p:sp>
          <p:nvSpPr>
            <p:cNvPr id="84" name="TextBox 36">
              <a:extLst>
                <a:ext uri="{FF2B5EF4-FFF2-40B4-BE49-F238E27FC236}">
                  <a16:creationId xmlns:a16="http://schemas.microsoft.com/office/drawing/2014/main" id="{3C9D3996-8A3D-44D8-8CA8-B651602EFA84}"/>
                </a:ext>
              </a:extLst>
            </p:cNvPr>
            <p:cNvSpPr txBox="1"/>
            <p:nvPr/>
          </p:nvSpPr>
          <p:spPr bwMode="auto">
            <a:xfrm>
              <a:off x="6168887" y="6024546"/>
              <a:ext cx="1524000" cy="246063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C02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LE Schedule Acceleration </a:t>
              </a:r>
            </a:p>
          </p:txBody>
        </p:sp>
        <p:sp>
          <p:nvSpPr>
            <p:cNvPr id="85" name="Right Arrow 84">
              <a:extLst>
                <a:ext uri="{FF2B5EF4-FFF2-40B4-BE49-F238E27FC236}">
                  <a16:creationId xmlns:a16="http://schemas.microsoft.com/office/drawing/2014/main" id="{31F6604B-CB70-4C4A-89B6-22CE5AE07C8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787887" y="6100746"/>
              <a:ext cx="341313" cy="76200"/>
            </a:xfrm>
            <a:prstGeom prst="rightArrow">
              <a:avLst>
                <a:gd name="adj1" fmla="val 50000"/>
                <a:gd name="adj2" fmla="val 50007"/>
              </a:avLst>
            </a:prstGeom>
            <a:solidFill>
              <a:srgbClr val="92D050"/>
            </a:solidFill>
            <a:ln w="9525">
              <a:solidFill>
                <a:srgbClr val="008441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34998"/>
                </a:srgbClr>
              </a:outerShdw>
            </a:effectLst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BFC3F47-C57F-4B1E-A43D-18F424EDBA1A}"/>
              </a:ext>
            </a:extLst>
          </p:cNvPr>
          <p:cNvGrpSpPr/>
          <p:nvPr/>
        </p:nvGrpSpPr>
        <p:grpSpPr>
          <a:xfrm>
            <a:off x="1492406" y="6384018"/>
            <a:ext cx="1811338" cy="233363"/>
            <a:chOff x="1568606" y="6018258"/>
            <a:chExt cx="1811338" cy="233363"/>
          </a:xfrm>
        </p:grpSpPr>
        <p:sp>
          <p:nvSpPr>
            <p:cNvPr id="87" name="TextBox 36">
              <a:extLst>
                <a:ext uri="{FF2B5EF4-FFF2-40B4-BE49-F238E27FC236}">
                  <a16:creationId xmlns:a16="http://schemas.microsoft.com/office/drawing/2014/main" id="{61864467-3668-4B56-A3AC-8F827E536EC3}"/>
                </a:ext>
              </a:extLst>
            </p:cNvPr>
            <p:cNvSpPr txBox="1"/>
            <p:nvPr/>
          </p:nvSpPr>
          <p:spPr bwMode="auto">
            <a:xfrm>
              <a:off x="1886792" y="6018258"/>
              <a:ext cx="1493152" cy="22860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lIns="0" tIns="36000" rIns="0" bIns="0" anchor="ctr" anchorCtr="1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C02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Project Decision Gates </a:t>
              </a:r>
            </a:p>
          </p:txBody>
        </p:sp>
        <p:sp>
          <p:nvSpPr>
            <p:cNvPr id="88" name="Diamond 87">
              <a:extLst>
                <a:ext uri="{FF2B5EF4-FFF2-40B4-BE49-F238E27FC236}">
                  <a16:creationId xmlns:a16="http://schemas.microsoft.com/office/drawing/2014/main" id="{6F8658FC-8082-4226-822A-723C035C4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8606" y="6051596"/>
              <a:ext cx="159092" cy="200025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rgbClr val="008441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34998"/>
                </a:srgbClr>
              </a:outerShdw>
            </a:effectLst>
          </p:spPr>
          <p:txBody>
            <a:bodyPr lIns="0" tIns="36000" rIns="0" bIns="0" anchor="ctr" anchorCtr="1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Futura Medium"/>
                  <a:ea typeface="+mn-ea"/>
                  <a:cs typeface="+mn-cs"/>
                </a:rPr>
                <a:t>2</a:t>
              </a: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</p:grpSp>
      <p:pic>
        <p:nvPicPr>
          <p:cNvPr id="28683" name="Picture 18">
            <a:extLst>
              <a:ext uri="{FF2B5EF4-FFF2-40B4-BE49-F238E27FC236}">
                <a16:creationId xmlns:a16="http://schemas.microsoft.com/office/drawing/2014/main" id="{16F21E36-A41A-4758-BE5C-B3D01ECFA0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832" y="2435299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4" name="Picture 20">
            <a:extLst>
              <a:ext uri="{FF2B5EF4-FFF2-40B4-BE49-F238E27FC236}">
                <a16:creationId xmlns:a16="http://schemas.microsoft.com/office/drawing/2014/main" id="{C7D838D2-76FA-4634-A8CD-10103B26E0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629" y="3866805"/>
            <a:ext cx="2190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5" name="Picture 22">
            <a:extLst>
              <a:ext uri="{FF2B5EF4-FFF2-40B4-BE49-F238E27FC236}">
                <a16:creationId xmlns:a16="http://schemas.microsoft.com/office/drawing/2014/main" id="{C439CC31-89FE-470C-888C-00882AD8D8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837" y="1833153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7" name="Picture 28">
            <a:extLst>
              <a:ext uri="{FF2B5EF4-FFF2-40B4-BE49-F238E27FC236}">
                <a16:creationId xmlns:a16="http://schemas.microsoft.com/office/drawing/2014/main" id="{4E3BF0A7-FE30-4CBB-86FD-0E0C91444B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1274" y="3869603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8" name="Picture 29">
            <a:extLst>
              <a:ext uri="{FF2B5EF4-FFF2-40B4-BE49-F238E27FC236}">
                <a16:creationId xmlns:a16="http://schemas.microsoft.com/office/drawing/2014/main" id="{1FDE00A7-6318-4CCE-9A2B-EB5E880004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6431" y="3887365"/>
            <a:ext cx="2127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9" name="Picture 30">
            <a:extLst>
              <a:ext uri="{FF2B5EF4-FFF2-40B4-BE49-F238E27FC236}">
                <a16:creationId xmlns:a16="http://schemas.microsoft.com/office/drawing/2014/main" id="{5651DB8C-99AC-48E7-A21E-3659A8BADE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629" y="3504519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0" name="Picture 33">
            <a:extLst>
              <a:ext uri="{FF2B5EF4-FFF2-40B4-BE49-F238E27FC236}">
                <a16:creationId xmlns:a16="http://schemas.microsoft.com/office/drawing/2014/main" id="{7F77583D-C955-42B4-AD52-DB47C50AE8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3943" y="2080253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1" name="Picture 34">
            <a:extLst>
              <a:ext uri="{FF2B5EF4-FFF2-40B4-BE49-F238E27FC236}">
                <a16:creationId xmlns:a16="http://schemas.microsoft.com/office/drawing/2014/main" id="{7BC03480-89B8-43FF-908F-003CE88044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8292" y="5771995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2" name="Picture 34">
            <a:extLst>
              <a:ext uri="{FF2B5EF4-FFF2-40B4-BE49-F238E27FC236}">
                <a16:creationId xmlns:a16="http://schemas.microsoft.com/office/drawing/2014/main" id="{3073EC02-1766-4991-9741-B889939F72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8293" y="5097204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3" name="Picture 34">
            <a:extLst>
              <a:ext uri="{FF2B5EF4-FFF2-40B4-BE49-F238E27FC236}">
                <a16:creationId xmlns:a16="http://schemas.microsoft.com/office/drawing/2014/main" id="{57E2BBE5-9857-43AC-AACA-9DEEF54E4B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197" y="5425004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4" name="Picture 22">
            <a:extLst>
              <a:ext uri="{FF2B5EF4-FFF2-40B4-BE49-F238E27FC236}">
                <a16:creationId xmlns:a16="http://schemas.microsoft.com/office/drawing/2014/main" id="{7F6E61D5-1296-417F-8A33-3B72798494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837" y="1501141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5" name="Picture 27">
            <a:extLst>
              <a:ext uri="{FF2B5EF4-FFF2-40B4-BE49-F238E27FC236}">
                <a16:creationId xmlns:a16="http://schemas.microsoft.com/office/drawing/2014/main" id="{E30E056D-939D-41E8-A35A-B8E34A70F6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881" y="2816461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8">
            <a:extLst>
              <a:ext uri="{FF2B5EF4-FFF2-40B4-BE49-F238E27FC236}">
                <a16:creationId xmlns:a16="http://schemas.microsoft.com/office/drawing/2014/main" id="{FE8A4FBF-1E0C-4E43-AEF4-3F01F15BB5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9716" y="2404967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7">
            <a:extLst>
              <a:ext uri="{FF2B5EF4-FFF2-40B4-BE49-F238E27FC236}">
                <a16:creationId xmlns:a16="http://schemas.microsoft.com/office/drawing/2014/main" id="{D455276C-856C-40C8-A887-673989515C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611" y="3171507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9">
            <a:extLst>
              <a:ext uri="{FF2B5EF4-FFF2-40B4-BE49-F238E27FC236}">
                <a16:creationId xmlns:a16="http://schemas.microsoft.com/office/drawing/2014/main" id="{E95D04FC-90B0-458F-B192-548848C342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882" y="4504286"/>
            <a:ext cx="2127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9">
            <a:extLst>
              <a:ext uri="{FF2B5EF4-FFF2-40B4-BE49-F238E27FC236}">
                <a16:creationId xmlns:a16="http://schemas.microsoft.com/office/drawing/2014/main" id="{941E75E1-FEFA-4F14-8394-C9C4D531CD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671" y="3862380"/>
            <a:ext cx="2127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8">
            <a:extLst>
              <a:ext uri="{FF2B5EF4-FFF2-40B4-BE49-F238E27FC236}">
                <a16:creationId xmlns:a16="http://schemas.microsoft.com/office/drawing/2014/main" id="{C4C90FDC-3EA4-4F5C-AD94-C95330B285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119" y="4201837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9">
            <a:extLst>
              <a:ext uri="{FF2B5EF4-FFF2-40B4-BE49-F238E27FC236}">
                <a16:creationId xmlns:a16="http://schemas.microsoft.com/office/drawing/2014/main" id="{A7A18FCE-AFA5-421C-AFA6-7FD89F246A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9241" y="4205069"/>
            <a:ext cx="2127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9">
            <a:extLst>
              <a:ext uri="{FF2B5EF4-FFF2-40B4-BE49-F238E27FC236}">
                <a16:creationId xmlns:a16="http://schemas.microsoft.com/office/drawing/2014/main" id="{3624942E-0012-4CB2-BFB7-0D86B877F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65" y="4201420"/>
            <a:ext cx="2127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9">
            <a:extLst>
              <a:ext uri="{FF2B5EF4-FFF2-40B4-BE49-F238E27FC236}">
                <a16:creationId xmlns:a16="http://schemas.microsoft.com/office/drawing/2014/main" id="{8FC05FEF-A619-44F8-9C0A-8AE1223B51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326" y="4186816"/>
            <a:ext cx="21272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34">
            <a:extLst>
              <a:ext uri="{FF2B5EF4-FFF2-40B4-BE49-F238E27FC236}">
                <a16:creationId xmlns:a16="http://schemas.microsoft.com/office/drawing/2014/main" id="{6663F41F-FB5D-4C39-8597-71E88F0615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9240" y="4747375"/>
            <a:ext cx="21272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97CFBE-850A-4625-B06E-95AB27E3EB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9575" y="1856186"/>
            <a:ext cx="394296" cy="1490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E6EE872-D244-4192-B7D3-4D11D7BA3D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5809" y="2437366"/>
            <a:ext cx="438950" cy="18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88547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08504" y="616220"/>
            <a:ext cx="11171238" cy="342871"/>
          </a:xfrm>
        </p:spPr>
        <p:txBody>
          <a:bodyPr/>
          <a:lstStyle/>
          <a:p>
            <a:r>
              <a:rPr lang="en-GB" sz="1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Bonga SE KPIs @ YTD June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>
                <a:solidFill>
                  <a:srgbClr val="595959"/>
                </a:solidFill>
              </a:rPr>
              <a:pPr/>
              <a:t>3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endParaRPr lang="en-US" altLang="en-US" sz="1800" dirty="0">
              <a:solidFill>
                <a:srgbClr val="595959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26EE67-B177-415B-B2E8-6AAC1B69C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504" y="1042218"/>
            <a:ext cx="11286333" cy="5282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96518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08504" y="616220"/>
            <a:ext cx="11171238" cy="342871"/>
          </a:xfrm>
        </p:spPr>
        <p:txBody>
          <a:bodyPr/>
          <a:lstStyle/>
          <a:p>
            <a:r>
              <a:rPr lang="en-GB" sz="1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Bonga SE KPIs @ YTD June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>
                <a:solidFill>
                  <a:srgbClr val="595959"/>
                </a:solidFill>
              </a:rPr>
              <a:pPr/>
              <a:t>4</a:t>
            </a:fld>
            <a:endParaRPr lang="en-GB" dirty="0">
              <a:solidFill>
                <a:srgbClr val="595959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endParaRPr lang="en-US" altLang="en-US" sz="1800" dirty="0">
              <a:solidFill>
                <a:srgbClr val="595959"/>
              </a:solidFill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8E63EF4-29FB-4569-98A7-5051CD4A190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7886279"/>
              </p:ext>
            </p:extLst>
          </p:nvPr>
        </p:nvGraphicFramePr>
        <p:xfrm>
          <a:off x="342900" y="959091"/>
          <a:ext cx="11247437" cy="5479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Worksheet" r:id="rId4" imgW="12474068" imgH="6187207" progId="Excel.Sheet.12">
                  <p:embed/>
                </p:oleObj>
              </mc:Choice>
              <mc:Fallback>
                <p:oleObj name="Worksheet" r:id="rId4" imgW="12474068" imgH="618720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2900" y="959091"/>
                        <a:ext cx="11247437" cy="5479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357713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>
            <a:extLst>
              <a:ext uri="{FF2B5EF4-FFF2-40B4-BE49-F238E27FC236}">
                <a16:creationId xmlns:a16="http://schemas.microsoft.com/office/drawing/2014/main" id="{0C86F429-9EF9-4FA9-9F1F-C7DF8E71ED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04800" y="686016"/>
            <a:ext cx="11171238" cy="289833"/>
          </a:xfr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Asset LT MFE Performance @ End June 2019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036A0D9-0121-4C64-9FBF-81124D0E48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5551180"/>
            <a:ext cx="11397672" cy="748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000" dirty="0"/>
              <a:t>% Performance (59%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altLang="en-US" sz="2000" dirty="0"/>
              <a:t>Improved MFE Performance Vs 20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altLang="en-US" sz="2000" dirty="0"/>
          </a:p>
          <a:p>
            <a:r>
              <a:rPr lang="en-GB" altLang="en-US" sz="2000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433DC0-AC7B-45BD-BC58-82712127ED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075204"/>
            <a:ext cx="11397673" cy="4383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4452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9172" y="649267"/>
            <a:ext cx="6460318" cy="313015"/>
          </a:xfrm>
        </p:spPr>
        <p:txBody>
          <a:bodyPr/>
          <a:lstStyle/>
          <a:p>
            <a:r>
              <a:rPr lang="en-GB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Annual Assurance Plan Compliance 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B7EBBDB-AD77-4E16-8927-8136511283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544200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507E6D9E-295A-4AF4-8AF4-7DE88B4A5A5B}"/>
              </a:ext>
            </a:extLst>
          </p:cNvPr>
          <p:cNvSpPr txBox="1">
            <a:spLocks/>
          </p:cNvSpPr>
          <p:nvPr/>
        </p:nvSpPr>
        <p:spPr bwMode="auto">
          <a:xfrm>
            <a:off x="6779490" y="1365144"/>
            <a:ext cx="4723882" cy="313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sz="1600" dirty="0"/>
              <a:t>LoD-2 Activity Plan Compliance: ~ 58% 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630EDCBD-EA75-4941-9A2E-837988E9AD6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6502233"/>
              </p:ext>
            </p:extLst>
          </p:nvPr>
        </p:nvGraphicFramePr>
        <p:xfrm>
          <a:off x="6705600" y="1647591"/>
          <a:ext cx="5278063" cy="50487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Worksheet" r:id="rId4" imgW="7444514" imgH="5935962" progId="Excel.Sheet.12">
                  <p:embed/>
                </p:oleObj>
              </mc:Choice>
              <mc:Fallback>
                <p:oleObj name="Worksheet" r:id="rId4" imgW="7444514" imgH="5935962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705600" y="1647591"/>
                        <a:ext cx="5278063" cy="50487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55C1A1D1-40BA-48DD-9631-7BA39E5CAD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337" y="1678159"/>
            <a:ext cx="6386427" cy="1336169"/>
          </a:xfrm>
          <a:prstGeom prst="rect">
            <a:avLst/>
          </a:prstGeom>
        </p:spPr>
      </p:pic>
      <p:sp>
        <p:nvSpPr>
          <p:cNvPr id="13" name="Title 6">
            <a:extLst>
              <a:ext uri="{FF2B5EF4-FFF2-40B4-BE49-F238E27FC236}">
                <a16:creationId xmlns:a16="http://schemas.microsoft.com/office/drawing/2014/main" id="{CC6DA663-050B-4B1B-BBF3-365E80AAC74A}"/>
              </a:ext>
            </a:extLst>
          </p:cNvPr>
          <p:cNvSpPr txBox="1">
            <a:spLocks/>
          </p:cNvSpPr>
          <p:nvPr/>
        </p:nvSpPr>
        <p:spPr bwMode="auto">
          <a:xfrm>
            <a:off x="319172" y="1284876"/>
            <a:ext cx="5452125" cy="313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dirty="0"/>
              <a:t>LOD - 1 Plan Compliance: ~ 124%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DD2ABCA-AF6A-4EF8-ADB0-439DEC8293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8337" y="3094596"/>
            <a:ext cx="6386427" cy="360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16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>
            <a:extLst>
              <a:ext uri="{FF2B5EF4-FFF2-40B4-BE49-F238E27FC236}">
                <a16:creationId xmlns:a16="http://schemas.microsoft.com/office/drawing/2014/main" id="{0C86F429-9EF9-4FA9-9F1F-C7DF8E71ED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82133" y="703394"/>
            <a:ext cx="11171238" cy="289833"/>
          </a:xfr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End Q2 SoC Performa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B1DAA1-5578-472C-8B9F-F6F3C2DA6E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5067" y="1248375"/>
            <a:ext cx="7924800" cy="50029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23C7713-D5B0-4647-A2E5-0F8A9C4B1B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133" y="1228436"/>
            <a:ext cx="3798740" cy="23368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B57E1A0-D10B-4C98-B099-17CC7FC53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133" y="3800445"/>
            <a:ext cx="3798740" cy="24508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6213" indent="-17621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altLang="en-US" sz="2000" dirty="0"/>
              <a:t>Improved SoC close Out compared to 2018</a:t>
            </a:r>
          </a:p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2000" dirty="0"/>
              <a:t>Commenced process of feed back to SoC reporter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GB" altLang="en-US" sz="2000" dirty="0"/>
              <a:t>Bulk of open SoC material related</a:t>
            </a:r>
          </a:p>
        </p:txBody>
      </p:sp>
    </p:spTree>
    <p:extLst>
      <p:ext uri="{BB962C8B-B14F-4D97-AF65-F5344CB8AC3E}">
        <p14:creationId xmlns:p14="http://schemas.microsoft.com/office/powerpoint/2010/main" val="308066518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43345" y="695680"/>
            <a:ext cx="11032694" cy="462430"/>
          </a:xfrm>
        </p:spPr>
        <p:txBody>
          <a:bodyPr/>
          <a:lstStyle/>
          <a:p>
            <a:r>
              <a:rPr lang="en-GB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YTD Key SE Activiti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B7EBBDB-AD77-4E16-8927-8136511283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544200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BA76E0-8A51-406C-AE16-EBF317D465F2}"/>
              </a:ext>
            </a:extLst>
          </p:cNvPr>
          <p:cNvSpPr/>
          <p:nvPr/>
        </p:nvSpPr>
        <p:spPr>
          <a:xfrm>
            <a:off x="397165" y="1032060"/>
            <a:ext cx="11351490" cy="57477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176213" marR="0" lvl="0" indent="-176213">
              <a:spcBef>
                <a:spcPts val="300"/>
              </a:spcBef>
              <a:spcAft>
                <a:spcPts val="300"/>
              </a:spcAft>
              <a:buSzPts val="800"/>
              <a:buFont typeface="Symbol" panose="05050102010706020507" pitchFamily="18" charset="2"/>
              <a:buBlip>
                <a:blip r:embed="rId3"/>
              </a:buBlip>
            </a:pPr>
            <a:r>
              <a:rPr lang="en-GB" sz="1700" dirty="0">
                <a:cs typeface="Calibri" panose="020F0502020204030204" pitchFamily="34" charset="0"/>
              </a:rPr>
              <a:t>Held Learning Summit sessions with 5 REG (Construction, Catering, maintenance, Marine and Operation). Focused on Failure to learn from previous incidents</a:t>
            </a:r>
          </a:p>
          <a:p>
            <a:pPr marL="176213" indent="-176213">
              <a:spcBef>
                <a:spcPts val="300"/>
              </a:spcBef>
              <a:spcAft>
                <a:spcPts val="300"/>
              </a:spcAft>
              <a:buSzPts val="800"/>
              <a:buBlip>
                <a:blip r:embed="rId3"/>
              </a:buBlip>
            </a:pPr>
            <a:r>
              <a:rPr lang="en-GB" sz="1700" dirty="0">
                <a:cs typeface="Calibri" panose="020F0502020204030204" pitchFamily="34" charset="0"/>
              </a:rPr>
              <a:t>Completed the DPR 2019 SNEPCo HSE Audit, Facility Inspection and Oil Spill Contingency Plan (OSCP) Activation Exercise. Zero non-conformance recorded and fewer observations made compared to previous years</a:t>
            </a:r>
          </a:p>
          <a:p>
            <a:pPr marL="176213" indent="-176213">
              <a:spcBef>
                <a:spcPts val="300"/>
              </a:spcBef>
              <a:spcAft>
                <a:spcPts val="300"/>
              </a:spcAft>
              <a:buSzPts val="800"/>
              <a:buBlip>
                <a:blip r:embed="rId3"/>
              </a:buBlip>
            </a:pPr>
            <a:r>
              <a:rPr lang="en-GB" sz="1700" dirty="0">
                <a:cs typeface="Calibri" panose="020F0502020204030204" pitchFamily="34" charset="0"/>
              </a:rPr>
              <a:t>Completed the following LOD-2 activities: </a:t>
            </a:r>
          </a:p>
          <a:p>
            <a:pPr marL="738188" indent="-396875">
              <a:spcBef>
                <a:spcPts val="300"/>
              </a:spcBef>
              <a:spcAft>
                <a:spcPts val="300"/>
              </a:spcAft>
              <a:buSzPts val="800"/>
              <a:buFont typeface="Courier New" panose="02070309020205020404" pitchFamily="49" charset="0"/>
              <a:buChar char="o"/>
            </a:pPr>
            <a:r>
              <a:rPr lang="en-GB" sz="1700" dirty="0">
                <a:cs typeface="Calibri" panose="020F0502020204030204" pitchFamily="34" charset="0"/>
              </a:rPr>
              <a:t>ISO 14001:2015 Internal Audit </a:t>
            </a:r>
          </a:p>
          <a:p>
            <a:pPr marL="738188" indent="-396875">
              <a:spcBef>
                <a:spcPts val="300"/>
              </a:spcBef>
              <a:spcAft>
                <a:spcPts val="300"/>
              </a:spcAft>
              <a:buSzPts val="800"/>
              <a:buFont typeface="Courier New" panose="02070309020205020404" pitchFamily="49" charset="0"/>
              <a:buChar char="o"/>
            </a:pPr>
            <a:r>
              <a:rPr lang="en-GB" sz="1700" dirty="0">
                <a:cs typeface="Calibri" panose="020F0502020204030204" pitchFamily="34" charset="0"/>
              </a:rPr>
              <a:t>Materials Management and Maintenance Strategy Review</a:t>
            </a:r>
          </a:p>
          <a:p>
            <a:pPr marL="738188" indent="-396875">
              <a:spcBef>
                <a:spcPts val="300"/>
              </a:spcBef>
              <a:spcAft>
                <a:spcPts val="300"/>
              </a:spcAft>
              <a:buSzPts val="800"/>
              <a:buFont typeface="Courier New" panose="02070309020205020404" pitchFamily="49" charset="0"/>
              <a:buChar char="o"/>
            </a:pPr>
            <a:r>
              <a:rPr lang="en-GB" sz="1700" dirty="0">
                <a:cs typeface="Calibri" panose="020F0502020204030204" pitchFamily="34" charset="0"/>
              </a:rPr>
              <a:t>SCiN EMP Review of Bonga Asset Practices </a:t>
            </a:r>
          </a:p>
          <a:p>
            <a:pPr marL="738188" indent="-396875">
              <a:spcBef>
                <a:spcPts val="300"/>
              </a:spcBef>
              <a:spcAft>
                <a:spcPts val="300"/>
              </a:spcAft>
              <a:buSzPts val="800"/>
              <a:buFont typeface="Courier New" panose="02070309020205020404" pitchFamily="49" charset="0"/>
              <a:buChar char="o"/>
            </a:pPr>
            <a:r>
              <a:rPr lang="en-GB" sz="1700" dirty="0">
                <a:cs typeface="Calibri" panose="020F0502020204030204" pitchFamily="34" charset="0"/>
              </a:rPr>
              <a:t>OPITO CMS monitoring audit </a:t>
            </a:r>
          </a:p>
          <a:p>
            <a:pPr marL="738188" indent="-396875">
              <a:spcBef>
                <a:spcPts val="300"/>
              </a:spcBef>
              <a:spcAft>
                <a:spcPts val="300"/>
              </a:spcAft>
              <a:buSzPts val="800"/>
              <a:buFont typeface="Courier New" panose="02070309020205020404" pitchFamily="49" charset="0"/>
              <a:buChar char="o"/>
            </a:pPr>
            <a:r>
              <a:rPr lang="en-US" sz="1700" dirty="0">
                <a:cs typeface="Calibri" panose="020F0502020204030204" pitchFamily="34" charset="0"/>
              </a:rPr>
              <a:t>Bonga FPSO Lifting - Assurance Audit</a:t>
            </a:r>
            <a:endParaRPr lang="en-GB" sz="1700" dirty="0">
              <a:cs typeface="Calibri" panose="020F0502020204030204" pitchFamily="34" charset="0"/>
            </a:endParaRP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700" dirty="0">
                <a:cs typeface="Calibri" panose="020F0502020204030204" pitchFamily="34" charset="0"/>
              </a:rPr>
              <a:t>Held the Bonga Facilities Management and Catering contract performance review with both SNEPCo and Contractor representatives in attendance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700" dirty="0">
                <a:cs typeface="Calibri" panose="020F0502020204030204" pitchFamily="34" charset="0"/>
              </a:rPr>
              <a:t>Completed the Bonga FPSO passing valve LOD-2 assessment, with Interview and document review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700" dirty="0">
                <a:cs typeface="Calibri" panose="020F0502020204030204" pitchFamily="34" charset="0"/>
              </a:rPr>
              <a:t>Technical (HSE) Evaluation of Nitrogen Purging and the Bonga catering services contracts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700" dirty="0">
                <a:cs typeface="Calibri" panose="020F0502020204030204" pitchFamily="34" charset="0"/>
              </a:rPr>
              <a:t>GHG management workshop completed 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cs typeface="Calibri" panose="020F0502020204030204" pitchFamily="34" charset="0"/>
              </a:rPr>
              <a:t>Commenced AIPSM review with the Asset LT 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cs typeface="Calibri" panose="020F0502020204030204" pitchFamily="34" charset="0"/>
              </a:rPr>
              <a:t>Held 1 Process Safety Clinic with the Corporate Technical Safety Team </a:t>
            </a:r>
          </a:p>
        </p:txBody>
      </p:sp>
    </p:spTree>
    <p:extLst>
      <p:ext uri="{BB962C8B-B14F-4D97-AF65-F5344CB8AC3E}">
        <p14:creationId xmlns:p14="http://schemas.microsoft.com/office/powerpoint/2010/main" val="172604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17236" y="719353"/>
            <a:ext cx="11069636" cy="313015"/>
          </a:xfrm>
        </p:spPr>
        <p:txBody>
          <a:bodyPr/>
          <a:lstStyle/>
          <a:p>
            <a:r>
              <a:rPr lang="en-GB" sz="2000" dirty="0"/>
              <a:t>Q3 SE Activities Look Ahea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B7EBBDB-AD77-4E16-8927-8136511283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177" y="6544200"/>
            <a:ext cx="355564" cy="237600"/>
          </a:xfrm>
        </p:spPr>
        <p:txBody>
          <a:bodyPr/>
          <a:lstStyle/>
          <a:p>
            <a:fld id="{D32BAE6A-B452-4007-8177-56DD051636F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98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WizKit V3_Template_Widescreen_07june2016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25.potx" id="{5E22847D-5CBF-4CA8-8CE3-232DAB546EA5}" vid="{4B24E3B9-20E2-4138-8309-8028B113B2B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92</TotalTime>
  <Words>550</Words>
  <Application>Microsoft Office PowerPoint</Application>
  <PresentationFormat>Widescreen</PresentationFormat>
  <Paragraphs>146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Arial Narrow</vt:lpstr>
      <vt:lpstr>Calibri</vt:lpstr>
      <vt:lpstr>Courier New</vt:lpstr>
      <vt:lpstr>Futura Bold</vt:lpstr>
      <vt:lpstr>Futura Medium</vt:lpstr>
      <vt:lpstr>Symbol</vt:lpstr>
      <vt:lpstr>Wingdings</vt:lpstr>
      <vt:lpstr>Shell WizKit V3_Template_Widescreen_07june2016</vt:lpstr>
      <vt:lpstr>think-cell Slide</vt:lpstr>
      <vt:lpstr>Microsoft Excel Worksheet</vt:lpstr>
      <vt:lpstr>Worksheet</vt:lpstr>
      <vt:lpstr>Bonga DW Asset Quarterly Business Review (HSE)</vt:lpstr>
      <vt:lpstr>Safety &amp; Environment – 2019 Key Promises Schedule </vt:lpstr>
      <vt:lpstr>Bonga SE KPIs @ YTD June 2019</vt:lpstr>
      <vt:lpstr>Bonga SE KPIs @ YTD June 2019</vt:lpstr>
      <vt:lpstr>Asset LT MFE Performance @ End June 2019 </vt:lpstr>
      <vt:lpstr>Annual Assurance Plan Compliance </vt:lpstr>
      <vt:lpstr>End Q2 SoC Performance</vt:lpstr>
      <vt:lpstr>YTD Key SE Activities</vt:lpstr>
      <vt:lpstr>Q3 SE Activities Look Ahea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RPASSING 2018 PROMISE THROUGH A FOCUSED, INTEGRATED DELIVERY  Q2 STATUS REPORT</dc:title>
  <dc:creator>Irabor, Agatha SNEPCO-UPO/G/SD</dc:creator>
  <cp:lastModifiedBy>Jegbefume, Efeoku V SNEPCO-UPO/G/SD</cp:lastModifiedBy>
  <cp:revision>110</cp:revision>
  <cp:lastPrinted>2019-07-15T12:46:53Z</cp:lastPrinted>
  <dcterms:created xsi:type="dcterms:W3CDTF">2018-07-04T13:37:16Z</dcterms:created>
  <dcterms:modified xsi:type="dcterms:W3CDTF">2019-08-09T14:06:52Z</dcterms:modified>
</cp:coreProperties>
</file>